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57" r:id="rId2"/>
    <p:sldId id="278" r:id="rId3"/>
    <p:sldId id="282" r:id="rId4"/>
    <p:sldId id="283" r:id="rId5"/>
    <p:sldId id="284" r:id="rId6"/>
    <p:sldId id="281" r:id="rId7"/>
    <p:sldId id="279" r:id="rId8"/>
    <p:sldId id="280" r:id="rId9"/>
    <p:sldId id="286" r:id="rId10"/>
    <p:sldId id="285" r:id="rId11"/>
    <p:sldId id="276" r:id="rId12"/>
  </p:sldIdLst>
  <p:sldSz cx="9144000" cy="5143500" type="screen16x9"/>
  <p:notesSz cx="6858000" cy="91440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935">
          <p15:clr>
            <a:srgbClr val="A4A3A4"/>
          </p15:clr>
        </p15:guide>
        <p15:guide id="2" orient="horz" pos="690">
          <p15:clr>
            <a:srgbClr val="A4A3A4"/>
          </p15:clr>
        </p15:guide>
        <p15:guide id="3" pos="158">
          <p15:clr>
            <a:srgbClr val="A4A3A4"/>
          </p15:clr>
        </p15:guide>
        <p15:guide id="4" pos="5602">
          <p15:clr>
            <a:srgbClr val="A4A3A4"/>
          </p15:clr>
        </p15:guide>
        <p15:guide id="5" pos="2812">
          <p15:clr>
            <a:srgbClr val="A4A3A4"/>
          </p15:clr>
        </p15:guide>
        <p15:guide id="6" pos="294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 varScale="1">
        <p:scale>
          <a:sx n="94" d="100"/>
          <a:sy n="94" d="100"/>
        </p:scale>
        <p:origin x="-476" y="-68"/>
      </p:cViewPr>
      <p:guideLst>
        <p:guide orient="horz" pos="2935"/>
        <p:guide orient="horz" pos="690"/>
        <p:guide pos="158"/>
        <p:guide pos="5602"/>
        <p:guide pos="2812"/>
        <p:guide pos="294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540" y="-108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DDD7BD-38E0-4069-A1F1-5E09BF7126F4}" type="datetimeFigureOut">
              <a:rPr lang="de-DE" smtClean="0"/>
              <a:t>20.06.20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500FA6-22DA-4EB1-8311-DFD21A59C2F4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7314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826AB9-D723-40FE-B8F9-D379E1A42843}" type="datetimeFigureOut">
              <a:rPr lang="de-DE" smtClean="0"/>
              <a:pPr/>
              <a:t>20.06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202C5B-8273-44D3-A022-3A2C86933C7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16388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200"/>
      </a:spcBef>
      <a:spcAft>
        <a:spcPts val="0"/>
      </a:spcAft>
      <a:defRPr sz="1200" b="0" kern="1200">
        <a:solidFill>
          <a:schemeClr val="bg2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0"/>
      </a:spcAft>
      <a:buFont typeface="Calibri" panose="020F0502020204030204" pitchFamily="34" charset="0"/>
      <a:buChar char="▪"/>
      <a:defRPr sz="1200" kern="1200">
        <a:solidFill>
          <a:schemeClr val="bg2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9102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12680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37497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0" name="Picture 98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10294" y="70"/>
            <a:ext cx="9154292" cy="5148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0080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50825" y="2759974"/>
            <a:ext cx="8642350" cy="72000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49871" y="3615866"/>
            <a:ext cx="8643303" cy="216024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flipH="1">
            <a:off x="9252520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200" y="1458000"/>
            <a:ext cx="2649327" cy="1374807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0" y="1458000"/>
            <a:ext cx="3477912" cy="1374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3678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403026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786A2B46-DFB5-4262-BF81-B2525B5A2343}" type="datetime1">
              <a:rPr lang="de-DE" smtClean="0"/>
              <a:t>20.06.20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Programmieren in Java; von Lena Herz, Violetta Rubin und Lara Mey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91066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079958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C9AA5A23-5D28-4A7D-BAF7-0873420A093B}" type="datetime1">
              <a:rPr lang="de-DE" smtClean="0"/>
              <a:t>20.06.2019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Programmieren in Java; von Lena Herz, Violetta Rubin und Lara Meyer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4739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5" name="Picture 99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-438"/>
            <a:ext cx="9145793" cy="5143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718871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095375"/>
            <a:ext cx="9144000" cy="4048126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251519" y="3417910"/>
            <a:ext cx="8640959" cy="73471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50825" y="4288512"/>
            <a:ext cx="8642349" cy="216024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200" y="-20538"/>
            <a:ext cx="2649327" cy="1374807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0" y="-21600"/>
            <a:ext cx="3477912" cy="1374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9640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18" name="Picture 98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70"/>
            <a:ext cx="9143997" cy="5142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677390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 Verbindung 4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 userDrawn="1"/>
        </p:nvSpPr>
        <p:spPr bwMode="gray">
          <a:xfrm>
            <a:off x="247261" y="492520"/>
            <a:ext cx="1044873" cy="323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2400" dirty="0">
                <a:solidFill>
                  <a:schemeClr val="bg1"/>
                </a:solidFill>
              </a:rPr>
              <a:t>Inhalt</a:t>
            </a:r>
          </a:p>
        </p:txBody>
      </p:sp>
      <p:sp>
        <p:nvSpPr>
          <p:cNvPr id="24" name="Inhaltsplatzhalter 23"/>
          <p:cNvSpPr>
            <a:spLocks noGrp="1"/>
          </p:cNvSpPr>
          <p:nvPr>
            <p:ph sz="quarter" idx="10"/>
          </p:nvPr>
        </p:nvSpPr>
        <p:spPr>
          <a:xfrm>
            <a:off x="247260" y="1050006"/>
            <a:ext cx="8645219" cy="3600450"/>
          </a:xfrm>
        </p:spPr>
        <p:txBody>
          <a:bodyPr>
            <a:noAutofit/>
          </a:bodyPr>
          <a:lstStyle>
            <a:lvl1pPr marL="360000" indent="-360000">
              <a:buFont typeface="Wingdings" charset="2"/>
              <a:buAutoNum type="arabicPlain"/>
              <a:defRPr>
                <a:solidFill>
                  <a:srgbClr val="FFFFFF"/>
                </a:solidFill>
              </a:defRPr>
            </a:lvl1pPr>
            <a:lvl2pPr marL="360363" indent="179388"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61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98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70"/>
            <a:ext cx="9143997" cy="5142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58991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51521" y="1536634"/>
            <a:ext cx="8640958" cy="612000"/>
          </a:xfrm>
        </p:spPr>
        <p:txBody>
          <a:bodyPr anchor="b">
            <a:noAutofit/>
          </a:bodyPr>
          <a:lstStyle>
            <a:lvl1pPr algn="l">
              <a:defRPr sz="2400" b="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46302" y="2211766"/>
            <a:ext cx="8640958" cy="504000"/>
          </a:xfrm>
        </p:spPr>
        <p:txBody>
          <a:bodyPr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Grafik 2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153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176341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D4F5902-9F87-45AE-B2DD-33FF568223D0}" type="datetime1">
              <a:rPr lang="de-DE" smtClean="0"/>
              <a:t>20.06.2019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Programmieren in Java; von Lena Herz, Violetta Rubin und Lara Meyer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252000" y="1047600"/>
            <a:ext cx="8640000" cy="360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543248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79676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72280329-C714-4F4F-A40D-74C195886596}" type="datetime1">
              <a:rPr lang="de-DE" smtClean="0"/>
              <a:t>20.06.2019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Programmieren in Java; von Lena Herz, Violetta Rubin und Lara Meyer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252000" y="1047600"/>
            <a:ext cx="4212050" cy="3592115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4680430" y="1047600"/>
            <a:ext cx="4212050" cy="3592115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29119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901494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411E5A6-894E-471B-AECF-3D2F874E76D4}" type="datetime1">
              <a:rPr lang="de-DE" smtClean="0"/>
              <a:t>20.06.2019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Programmieren in Java; von Lena Herz, Violetta Rubin und Lara Meyer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>
          <a:xfrm>
            <a:off x="4679950" y="1087041"/>
            <a:ext cx="4213225" cy="3572272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4212050" cy="3592115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651999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231713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620" y="469106"/>
            <a:ext cx="9143380" cy="46949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0626393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98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70"/>
            <a:ext cx="9143997" cy="5142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334637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21" y="2247714"/>
            <a:ext cx="8640960" cy="1593177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itat bearbeiten</a:t>
            </a:r>
          </a:p>
          <a:p>
            <a:pPr lvl="1"/>
            <a:r>
              <a:rPr lang="de-DE" dirty="0"/>
              <a:t>Zitat 14pt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567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3633674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5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90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" y="0"/>
            <a:ext cx="9143993" cy="5142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7528383" y="4767994"/>
            <a:ext cx="765448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FC061D73-98D3-47B4-BA17-43D96FC12F3A}" type="datetime1">
              <a:rPr lang="de-DE" smtClean="0"/>
              <a:t>20.06.2019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250825" y="4767994"/>
            <a:ext cx="680551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2"/>
                </a:solidFill>
              </a:defRPr>
            </a:lvl1pPr>
          </a:lstStyle>
          <a:p>
            <a:r>
              <a:rPr lang="de-DE"/>
              <a:t>Programmieren in Java; von Lena Herz, Violetta Rubin und Lara Meyer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500491" y="4767994"/>
            <a:ext cx="391989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50825" y="1046438"/>
            <a:ext cx="8640000" cy="360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447574"/>
            <a:ext cx="8640000" cy="54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cxnSp>
        <p:nvCxnSpPr>
          <p:cNvPr id="11" name="Gerade Verbindung 10"/>
          <p:cNvCxnSpPr/>
          <p:nvPr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848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1" r:id="rId4"/>
    <p:sldLayoutId id="2147483650" r:id="rId5"/>
    <p:sldLayoutId id="2147483652" r:id="rId6"/>
    <p:sldLayoutId id="2147483662" r:id="rId7"/>
    <p:sldLayoutId id="2147483663" r:id="rId8"/>
    <p:sldLayoutId id="2147483664" r:id="rId9"/>
    <p:sldLayoutId id="2147483654" r:id="rId10"/>
    <p:sldLayoutId id="2147483655" r:id="rId11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200"/>
        </a:spcBef>
        <a:spcAft>
          <a:spcPts val="0"/>
        </a:spcAft>
        <a:buFont typeface="Arial" panose="020B0604020202020204" pitchFamily="34" charset="0"/>
        <a:buNone/>
        <a:defRPr sz="1400" b="0" kern="1200">
          <a:solidFill>
            <a:schemeClr val="bg2"/>
          </a:solidFill>
          <a:latin typeface="+mj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200"/>
        </a:spcBef>
        <a:spcAft>
          <a:spcPts val="0"/>
        </a:spcAft>
        <a:buFont typeface="Wingdings" charset="2"/>
        <a:buChar char="§"/>
        <a:defRPr sz="1400" kern="1200">
          <a:solidFill>
            <a:schemeClr val="bg2"/>
          </a:solidFill>
          <a:latin typeface="+mj-lt"/>
          <a:ea typeface="+mn-ea"/>
          <a:cs typeface="+mn-cs"/>
        </a:defRPr>
      </a:lvl2pPr>
      <a:lvl3pPr marL="363538" indent="-182563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400" kern="1200">
          <a:solidFill>
            <a:schemeClr val="bg2"/>
          </a:solidFill>
          <a:latin typeface="+mj-lt"/>
          <a:ea typeface="+mn-ea"/>
          <a:cs typeface="+mn-cs"/>
        </a:defRPr>
      </a:lvl3pPr>
      <a:lvl4pPr marL="541338" indent="-179388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400" kern="1200">
          <a:solidFill>
            <a:schemeClr val="bg2"/>
          </a:solidFill>
          <a:latin typeface="+mj-lt"/>
          <a:ea typeface="+mn-ea"/>
          <a:cs typeface="+mn-cs"/>
        </a:defRPr>
      </a:lvl4pPr>
      <a:lvl5pPr marL="714375" indent="-180975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400" kern="1200">
          <a:solidFill>
            <a:schemeClr val="bg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010435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sz="3600" dirty="0"/>
              <a:t>Der digitale Vokabeltrainer</a:t>
            </a:r>
            <a:r>
              <a:rPr lang="de-DE" dirty="0"/>
              <a:t/>
            </a:r>
            <a:br>
              <a:rPr lang="de-DE" dirty="0"/>
            </a:br>
            <a:r>
              <a:rPr lang="de-DE" sz="2000" dirty="0"/>
              <a:t>Programmieren in Java</a:t>
            </a:r>
            <a:endParaRPr lang="de-DE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4824028" y="3975906"/>
            <a:ext cx="4069147" cy="1008112"/>
          </a:xfrm>
        </p:spPr>
        <p:txBody>
          <a:bodyPr/>
          <a:lstStyle/>
          <a:p>
            <a:r>
              <a:rPr lang="de-DE" dirty="0"/>
              <a:t>Vortragende: Lena Herz, Violetta Rubin und Lara Meyer</a:t>
            </a:r>
          </a:p>
          <a:p>
            <a:r>
              <a:rPr lang="de-DE" dirty="0"/>
              <a:t>Prüfungsleistung </a:t>
            </a:r>
          </a:p>
          <a:p>
            <a:r>
              <a:rPr lang="de-DE" dirty="0"/>
              <a:t>Modul 2.2.2 Informatik </a:t>
            </a:r>
            <a:r>
              <a:rPr lang="de-DE" dirty="0" err="1"/>
              <a:t>ll</a:t>
            </a:r>
            <a:endParaRPr lang="de-DE" dirty="0"/>
          </a:p>
          <a:p>
            <a:r>
              <a:rPr lang="de-DE" dirty="0"/>
              <a:t>Prüfer: Herr Christian Knorr</a:t>
            </a:r>
          </a:p>
        </p:txBody>
      </p:sp>
    </p:spTree>
    <p:extLst>
      <p:ext uri="{BB962C8B-B14F-4D97-AF65-F5344CB8AC3E}">
        <p14:creationId xmlns:p14="http://schemas.microsoft.com/office/powerpoint/2010/main" val="10134784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0F30A10D-D394-45CD-A850-A475398FE0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F5902-9F87-45AE-B2DD-33FF568223D0}" type="datetime1">
              <a:rPr lang="de-DE" smtClean="0"/>
              <a:t>20.06.2019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A5CBB22A-2203-4BB5-AF77-7DF3EBCDBF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grammieren in Java; von Lena Herz, Violetta Rubin und Lara Mey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DD83B52E-9DB7-4DD7-87E8-E91452FD10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xmlns="" id="{5D4983E6-EB7D-4DE7-B0A1-BA4170DD9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Literatur- und Bildquellennachweis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xmlns="" id="{60862823-BE44-4FF2-9E12-8F9F1E209E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alls </a:t>
            </a:r>
            <a:r>
              <a:rPr lang="de-DE" dirty="0" err="1"/>
              <a:t>wa´da</a:t>
            </a:r>
            <a:r>
              <a:rPr lang="de-DE" dirty="0"/>
              <a:t> </a:t>
            </a:r>
            <a:r>
              <a:rPr lang="de-DE" dirty="0" err="1"/>
              <a:t>wat</a:t>
            </a:r>
            <a:r>
              <a:rPr lang="de-DE" dirty="0"/>
              <a:t> </a:t>
            </a:r>
            <a:r>
              <a:rPr lang="de-DE" dirty="0" err="1"/>
              <a:t>kregen</a:t>
            </a:r>
            <a:r>
              <a:rPr lang="de-DE" dirty="0"/>
              <a:t> ….</a:t>
            </a:r>
          </a:p>
        </p:txBody>
      </p:sp>
    </p:spTree>
    <p:extLst>
      <p:ext uri="{BB962C8B-B14F-4D97-AF65-F5344CB8AC3E}">
        <p14:creationId xmlns:p14="http://schemas.microsoft.com/office/powerpoint/2010/main" val="25197610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46250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3600" dirty="0"/>
              <a:t>Vielen Dank!</a:t>
            </a:r>
          </a:p>
        </p:txBody>
      </p:sp>
      <p:sp>
        <p:nvSpPr>
          <p:cNvPr id="10" name="Textplatzhalter 5"/>
          <p:cNvSpPr txBox="1">
            <a:spLocks/>
          </p:cNvSpPr>
          <p:nvPr/>
        </p:nvSpPr>
        <p:spPr>
          <a:xfrm>
            <a:off x="250825" y="2179796"/>
            <a:ext cx="8642349" cy="2479518"/>
          </a:xfrm>
          <a:prstGeom prst="rect">
            <a:avLst/>
          </a:prstGeom>
        </p:spPr>
        <p:txBody>
          <a:bodyPr lIns="0" tIns="0" rIns="0" bIns="0" numCol="3" spcCol="180000">
            <a:no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1000"/>
              </a:spcBef>
              <a:buFontTx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800"/>
              </a:lnSpc>
              <a:spcBef>
                <a:spcPts val="1000"/>
              </a:spcBef>
              <a:buFontTx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800"/>
              </a:lnSpc>
              <a:spcBef>
                <a:spcPts val="1000"/>
              </a:spcBef>
              <a:buFontTx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800"/>
              </a:lnSpc>
              <a:spcBef>
                <a:spcPts val="1000"/>
              </a:spcBef>
              <a:buFontTx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ts val="1800"/>
              </a:lnSpc>
              <a:spcBef>
                <a:spcPts val="1000"/>
              </a:spcBef>
              <a:buFontTx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Calibri" panose="020F0502020204030204" pitchFamily="34" charset="0"/>
              <a:buChar char="▪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rPr>
              <a:t>Jonas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rPr>
              <a:t>Bünn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Calibri" panose="020F0502020204030204" pitchFamily="34" charset="0"/>
              <a:buChar char="▪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rPr>
              <a:t>Christian Knorr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Calibri" panose="020F0502020204030204" pitchFamily="34" charset="0"/>
              <a:buChar char="▪"/>
              <a:tabLst/>
              <a:defRPr/>
            </a:pPr>
            <a:r>
              <a:rPr lang="de-DE" sz="1000">
                <a:solidFill>
                  <a:sysClr val="window" lastClr="FFFFFF"/>
                </a:solidFill>
                <a:latin typeface="Calibri"/>
              </a:rPr>
              <a:t>Allen Korrekturlesern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Calibri" panose="020F0502020204030204" pitchFamily="34" charset="0"/>
              <a:buChar char="▪"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678352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1FB3DD-58A4-4FEE-9F84-DDD496C2E477}" type="datetime1">
              <a:rPr lang="de-DE" smtClean="0"/>
              <a:t>20.06.20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grammieren in Java; von Lena Herz, Violetta Rubin und Lara Meyer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Inhalt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sz="1600" b="1" dirty="0"/>
              <a:t>Projektidee</a:t>
            </a:r>
          </a:p>
          <a:p>
            <a:pPr marL="523875" lvl="1" indent="-342900">
              <a:buFont typeface="+mj-lt"/>
              <a:buAutoNum type="alphaLcPeriod"/>
            </a:pPr>
            <a:r>
              <a:rPr lang="de-DE" sz="1600" dirty="0"/>
              <a:t>Vom analogen Karteikasten zum digitalen Vokabeltrainer</a:t>
            </a:r>
          </a:p>
          <a:p>
            <a:pPr marL="523875" lvl="1" indent="-342900">
              <a:buFont typeface="+mj-lt"/>
              <a:buAutoNum type="alphaLcPeriod"/>
            </a:pPr>
            <a:r>
              <a:rPr lang="de-DE" sz="1600" dirty="0"/>
              <a:t>Grundsätzliche Funktionalität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600" b="1" dirty="0"/>
              <a:t>Umsetzung und Spezifikation</a:t>
            </a:r>
          </a:p>
          <a:p>
            <a:pPr marL="523875" lvl="1" indent="-342900">
              <a:buFont typeface="+mj-lt"/>
              <a:buAutoNum type="alphaLcPeriod"/>
            </a:pPr>
            <a:r>
              <a:rPr lang="de-DE" sz="1600" dirty="0"/>
              <a:t>Strukturierung in Klassen</a:t>
            </a:r>
          </a:p>
          <a:p>
            <a:pPr marL="523875" lvl="1" indent="-342900">
              <a:buFont typeface="+mj-lt"/>
              <a:buAutoNum type="alphaLcPeriod"/>
            </a:pPr>
            <a:r>
              <a:rPr lang="de-DE" sz="1600" dirty="0"/>
              <a:t>Listenspeicherstruktur</a:t>
            </a:r>
          </a:p>
          <a:p>
            <a:pPr marL="523875" lvl="1" indent="-342900">
              <a:buFont typeface="+mj-lt"/>
              <a:buAutoNum type="alphaLcPeriod"/>
            </a:pPr>
            <a:r>
              <a:rPr lang="de-DE" sz="1600" dirty="0"/>
              <a:t>Swing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600" b="1" dirty="0"/>
              <a:t>Das fertige Programm</a:t>
            </a:r>
          </a:p>
          <a:p>
            <a:pPr marL="523875" lvl="1" indent="-342900">
              <a:buFont typeface="+mj-lt"/>
              <a:buAutoNum type="alphaLcPeriod"/>
            </a:pPr>
            <a:r>
              <a:rPr lang="de-DE" sz="1600" dirty="0"/>
              <a:t>Demonstration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600" b="1" dirty="0"/>
              <a:t>Diskussion</a:t>
            </a:r>
          </a:p>
          <a:p>
            <a:pPr marL="523875" lvl="1" indent="-342900">
              <a:buFont typeface="+mj-lt"/>
              <a:buAutoNum type="alphaLcPeriod"/>
            </a:pPr>
            <a:r>
              <a:rPr lang="de-DE" sz="1600" dirty="0"/>
              <a:t>Anwendungsbereiche und Grenzen</a:t>
            </a:r>
          </a:p>
          <a:p>
            <a:pPr marL="523875" lvl="1" indent="-342900">
              <a:buFont typeface="+mj-lt"/>
              <a:buAutoNum type="alphaLcPeriod"/>
            </a:pPr>
            <a:r>
              <a:rPr lang="de-DE" sz="1600" dirty="0"/>
              <a:t>Ausbaumöglichkeiten</a:t>
            </a:r>
          </a:p>
          <a:p>
            <a:pPr marL="523875" lvl="1" indent="-342900">
              <a:buFont typeface="+mj-lt"/>
              <a:buAutoNum type="alphaLcPeriod"/>
            </a:pPr>
            <a:r>
              <a:rPr lang="de-DE" sz="1600" dirty="0"/>
              <a:t>Fazit</a:t>
            </a:r>
          </a:p>
        </p:txBody>
      </p:sp>
    </p:spTree>
    <p:extLst>
      <p:ext uri="{BB962C8B-B14F-4D97-AF65-F5344CB8AC3E}">
        <p14:creationId xmlns:p14="http://schemas.microsoft.com/office/powerpoint/2010/main" val="24022718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FB8DE513-A62B-47F5-8E1F-4242C20B2F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F5902-9F87-45AE-B2DD-33FF568223D0}" type="datetime1">
              <a:rPr lang="de-DE" smtClean="0"/>
              <a:t>20.06.2019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8939600B-556D-4178-A3C8-9C6BD5A102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grammieren in Java; von Lena Herz, Violetta Rubin und Lara Mey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6FF3065C-AA8E-4FD3-85C1-12FC0A21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xmlns="" id="{DA07B729-4409-4936-969B-7EDF5AFB9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447574"/>
            <a:ext cx="8640000" cy="540000"/>
          </a:xfrm>
        </p:spPr>
        <p:txBody>
          <a:bodyPr/>
          <a:lstStyle/>
          <a:p>
            <a:r>
              <a:rPr lang="de-DE" sz="2800" dirty="0"/>
              <a:t>Vom analogen Karteikasten zum digitalen Vokabeltrainer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50EF4887-53EF-490C-8DC1-04DEFAFDAA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5326151" y="1357703"/>
            <a:ext cx="3759882" cy="2819912"/>
          </a:xfrm>
          <a:prstGeom prst="rect">
            <a:avLst/>
          </a:prstGeom>
        </p:spPr>
      </p:pic>
      <p:sp>
        <p:nvSpPr>
          <p:cNvPr id="14" name="Inhaltsplatzhalter 5">
            <a:extLst>
              <a:ext uri="{FF2B5EF4-FFF2-40B4-BE49-F238E27FC236}">
                <a16:creationId xmlns:a16="http://schemas.microsoft.com/office/drawing/2014/main" xmlns="" id="{70C30D98-6641-41D2-B0BF-791A2313E4DA}"/>
              </a:ext>
            </a:extLst>
          </p:cNvPr>
          <p:cNvSpPr txBox="1">
            <a:spLocks/>
          </p:cNvSpPr>
          <p:nvPr/>
        </p:nvSpPr>
        <p:spPr bwMode="gray">
          <a:xfrm>
            <a:off x="252000" y="1047600"/>
            <a:ext cx="4428012" cy="360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600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7167575"/>
              </p:ext>
            </p:extLst>
          </p:nvPr>
        </p:nvGraphicFramePr>
        <p:xfrm>
          <a:off x="503548" y="1309497"/>
          <a:ext cx="4860060" cy="2916324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445500"/>
                <a:gridCol w="2414560"/>
              </a:tblGrid>
              <a:tr h="2534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err="1">
                          <a:effectLst/>
                        </a:rPr>
                        <a:t>analog</a:t>
                      </a:r>
                      <a:endParaRPr lang="de-D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digital</a:t>
                      </a:r>
                      <a:endParaRPr lang="de-D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2268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Wort und ggf. Hilfssatz wird auf eine Seite der Karte geschrieben</a:t>
                      </a:r>
                      <a:endParaRPr lang="de-D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Wort und ggf. Hilfssatz  wird dem Benutzern angezeigt</a:t>
                      </a:r>
                      <a:endParaRPr lang="de-D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9192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Um Übersetzung zu überprüfen, muss die Karte umgedreht werden</a:t>
                      </a:r>
                      <a:endParaRPr lang="de-D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Übersetzung wird in ein Fenster eingeschrieben, das Programm überprüft sie und zeigt die richtige  </a:t>
                      </a:r>
                      <a:endParaRPr lang="de-D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9192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Richtig beantwortetes Wort wird im nächsten Fach verschoben bis es im letzten Fach kommt</a:t>
                      </a:r>
                      <a:endParaRPr lang="de-D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Richtige Antworte werden gezählt; wenn das Wort x mal richtig beantwortet ist, wird es nicht mehr angezeigt </a:t>
                      </a:r>
                      <a:endParaRPr lang="de-D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5634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Gelernte Lektion wird durch neue ersetzt</a:t>
                      </a:r>
                      <a:endParaRPr lang="de-D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Der Benutzer wählt die Lektionen im Menü aus</a:t>
                      </a:r>
                      <a:endParaRPr lang="de-D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18876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FB8DE513-A62B-47F5-8E1F-4242C20B2F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F5902-9F87-45AE-B2DD-33FF568223D0}" type="datetime1">
              <a:rPr lang="de-DE" smtClean="0"/>
              <a:t>20.06.2019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8939600B-556D-4178-A3C8-9C6BD5A102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grammieren in Java; von Lena Herz, Violetta Rubin und Lara Mey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6FF3065C-AA8E-4FD3-85C1-12FC0A21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xmlns="" id="{DA07B729-4409-4936-969B-7EDF5AFB94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Grundsätzliche Funktionalität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A6D626C9-8011-487D-9E31-3141F194498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9094" b="3288"/>
          <a:stretch/>
        </p:blipFill>
        <p:spPr>
          <a:xfrm>
            <a:off x="4499992" y="1095586"/>
            <a:ext cx="4572508" cy="3279863"/>
          </a:xfrm>
          <a:prstGeom prst="rect">
            <a:avLst/>
          </a:prstGeom>
        </p:spPr>
      </p:pic>
      <p:sp>
        <p:nvSpPr>
          <p:cNvPr id="9" name="Inhaltsplatzhalter 5">
            <a:extLst>
              <a:ext uri="{FF2B5EF4-FFF2-40B4-BE49-F238E27FC236}">
                <a16:creationId xmlns:a16="http://schemas.microsoft.com/office/drawing/2014/main" xmlns="" id="{1B8F8E0E-EE2F-4BD9-B772-901F9A37AFD7}"/>
              </a:ext>
            </a:extLst>
          </p:cNvPr>
          <p:cNvSpPr txBox="1">
            <a:spLocks/>
          </p:cNvSpPr>
          <p:nvPr/>
        </p:nvSpPr>
        <p:spPr bwMode="gray">
          <a:xfrm>
            <a:off x="252000" y="1047600"/>
            <a:ext cx="4428012" cy="360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600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4713437"/>
              </p:ext>
            </p:extLst>
          </p:nvPr>
        </p:nvGraphicFramePr>
        <p:xfrm>
          <a:off x="323528" y="1483922"/>
          <a:ext cx="4176464" cy="2491886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088013"/>
                <a:gridCol w="2088451"/>
              </a:tblGrid>
              <a:tr h="29465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analog</a:t>
                      </a:r>
                      <a:endParaRPr lang="de-D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digital</a:t>
                      </a:r>
                      <a:endParaRPr lang="de-D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6076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Eine Lektion bleibt im Kasten bis sie gelernt ist, mehr Lektionen schwierig oder nicht möglich</a:t>
                      </a:r>
                      <a:endParaRPr lang="de-D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Beliebig viel Lektionen gleichzeitig</a:t>
                      </a:r>
                      <a:endParaRPr lang="de-D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2065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Nutzung  unterwegs unpraktisch, die Karten können verloren gehen oder beschädigt werden</a:t>
                      </a:r>
                      <a:endParaRPr lang="de-D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Nutzung überall und jederzeit möglich, die Karten können verlorengehen nur gemeinsam mit dem Laptop</a:t>
                      </a:r>
                      <a:endParaRPr lang="de-D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9465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Braucht physikalisch viel Speicherplatz</a:t>
                      </a:r>
                      <a:endParaRPr lang="de-D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Braucht keinen physikalischen Speicherplatz</a:t>
                      </a:r>
                      <a:endParaRPr lang="de-D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9465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Wird mit der Zeit abgenutzt</a:t>
                      </a:r>
                      <a:endParaRPr lang="de-D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Bleibt ewig im Ausgangsform</a:t>
                      </a:r>
                      <a:endParaRPr lang="de-D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68335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FB8DE513-A62B-47F5-8E1F-4242C20B2F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F5902-9F87-45AE-B2DD-33FF568223D0}" type="datetime1">
              <a:rPr lang="de-DE" smtClean="0"/>
              <a:t>20.06.2019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8939600B-556D-4178-A3C8-9C6BD5A102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grammieren in Java; von Lena Herz, Violetta Rubin und Lara Mey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6FF3065C-AA8E-4FD3-85C1-12FC0A21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xmlns="" id="{DA07B729-4409-4936-969B-7EDF5AFB94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Grundsätzliche Funktionalität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xmlns="" id="{1A280F25-DE87-4B96-A193-1BE892482C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0886" y="987574"/>
            <a:ext cx="6439877" cy="3475664"/>
          </a:xfrm>
          <a:prstGeom prst="rect">
            <a:avLst/>
          </a:prstGeom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xmlns="" id="{C18F7D73-8E6C-4B8A-B09A-F937D208EE3C}"/>
              </a:ext>
            </a:extLst>
          </p:cNvPr>
          <p:cNvSpPr/>
          <p:nvPr/>
        </p:nvSpPr>
        <p:spPr>
          <a:xfrm>
            <a:off x="1439652" y="1275546"/>
            <a:ext cx="900100" cy="504056"/>
          </a:xfrm>
          <a:prstGeom prst="ellipse">
            <a:avLst/>
          </a:prstGeom>
          <a:noFill/>
          <a:ln w="38100">
            <a:solidFill>
              <a:schemeClr val="accent5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xmlns="" id="{89EBF4CA-AE81-43DE-A7A6-5DA85D60A1BB}"/>
              </a:ext>
            </a:extLst>
          </p:cNvPr>
          <p:cNvSpPr/>
          <p:nvPr/>
        </p:nvSpPr>
        <p:spPr>
          <a:xfrm>
            <a:off x="6300192" y="3363838"/>
            <a:ext cx="1296144" cy="684076"/>
          </a:xfrm>
          <a:prstGeom prst="ellipse">
            <a:avLst/>
          </a:prstGeom>
          <a:noFill/>
          <a:ln w="38100">
            <a:solidFill>
              <a:schemeClr val="accent5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</p:spTree>
    <p:extLst>
      <p:ext uri="{BB962C8B-B14F-4D97-AF65-F5344CB8AC3E}">
        <p14:creationId xmlns:p14="http://schemas.microsoft.com/office/powerpoint/2010/main" val="9335549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E6A08593-ED8F-4E0D-A589-8AB9792E2B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F5902-9F87-45AE-B2DD-33FF568223D0}" type="datetime1">
              <a:rPr lang="de-DE" smtClean="0"/>
              <a:t>20.06.2019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27262DBE-DFE2-4C47-8017-D34A94A145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grammieren in Java; von Lena Herz, Violetta Rubin und Lara Mey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0582DAF3-865E-4A9D-8A98-1CFB90B1F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xmlns="" id="{D7C78F7F-19B0-4EF2-A61C-FF73E7C058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Strukturierung in Klass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19B46014-7242-4DC3-8708-7A91ACD7CA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700" y="879562"/>
            <a:ext cx="8078556" cy="3530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2290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E6A08593-ED8F-4E0D-A589-8AB9792E2B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F5902-9F87-45AE-B2DD-33FF568223D0}" type="datetime1">
              <a:rPr lang="de-DE" smtClean="0"/>
              <a:t>20.06.2019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27262DBE-DFE2-4C47-8017-D34A94A145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grammieren in Java; von Lena Herz, Violetta Rubin und Lara Mey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0582DAF3-865E-4A9D-8A98-1CFB90B1F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xmlns="" id="{D7C78F7F-19B0-4EF2-A61C-FF73E7C058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Strukturierung in Klass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xmlns="" id="{BB8C7AB4-83B1-4225-9740-A76F4E444C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6972" y="949036"/>
            <a:ext cx="4812636" cy="383001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xmlns="" id="{EC8027F1-576F-4D63-BF40-775A9DC286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556" y="1787100"/>
            <a:ext cx="3113627" cy="165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4136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E6A08593-ED8F-4E0D-A589-8AB9792E2B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F5902-9F87-45AE-B2DD-33FF568223D0}" type="datetime1">
              <a:rPr lang="de-DE" smtClean="0"/>
              <a:t>20.06.2019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27262DBE-DFE2-4C47-8017-D34A94A145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grammieren in Java; von Lena Herz, Violetta Rubin und Lara Mey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0582DAF3-865E-4A9D-8A98-1CFB90B1F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xmlns="" id="{D7C78F7F-19B0-4EF2-A61C-FF73E7C058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Strukturierung in Klass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xmlns="" id="{DFF6B9D0-0EA8-46FA-B21F-99C2D01AAF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1543" y="757205"/>
            <a:ext cx="4173505" cy="3958609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xmlns="" id="{52FF0536-F687-4C1A-B25E-5648B23023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8952" y="2068964"/>
            <a:ext cx="3173763" cy="1335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1831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E6A08593-ED8F-4E0D-A589-8AB9792E2B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F5902-9F87-45AE-B2DD-33FF568223D0}" type="datetime1">
              <a:rPr lang="de-DE" smtClean="0"/>
              <a:t>20.06.2019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27262DBE-DFE2-4C47-8017-D34A94A145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grammieren in Java; von Lena Herz, Violetta Rubin und Lara Mey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0582DAF3-865E-4A9D-8A98-1CFB90B1F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xmlns="" id="{D7C78F7F-19B0-4EF2-A61C-FF73E7C058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Strukturierung in Klass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19B46014-7242-4DC3-8708-7A91ACD7CA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700" y="879562"/>
            <a:ext cx="8078556" cy="3530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75820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_16zu9_Violett-Blau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spcBef>
            <a:spcPts val="200"/>
          </a:spcBef>
          <a:buFont typeface="Calibri" panose="020F0502020204030204" pitchFamily="34" charset="0"/>
          <a:buChar char="▪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200"/>
          </a:spcBef>
          <a:buClr>
            <a:schemeClr val="bg2"/>
          </a:buClr>
          <a:buFont typeface="Wingdings" panose="05000000000000000000" pitchFamily="2" charset="2"/>
          <a:buChar char="§"/>
          <a:defRPr sz="1400"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SB_PPT-Master_4zu3_türkisblau_ras.potx</Template>
  <TotalTime>0</TotalTime>
  <Words>389</Words>
  <Application>Microsoft Office PowerPoint</Application>
  <PresentationFormat>Экран (16:9)</PresentationFormat>
  <Paragraphs>82</Paragraphs>
  <Slides>11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3" baseType="lpstr">
      <vt:lpstr>HSB_16zu9_Violett-Blau</vt:lpstr>
      <vt:lpstr>think-cell Folie</vt:lpstr>
      <vt:lpstr>Der digitale Vokabeltrainer Programmieren in Java</vt:lpstr>
      <vt:lpstr>Inhalt</vt:lpstr>
      <vt:lpstr>Vom analogen Karteikasten zum digitalen Vokabeltrainer</vt:lpstr>
      <vt:lpstr>Grundsätzliche Funktionalität</vt:lpstr>
      <vt:lpstr>Grundsätzliche Funktionalität</vt:lpstr>
      <vt:lpstr>Strukturierung in Klassen</vt:lpstr>
      <vt:lpstr>Strukturierung in Klassen</vt:lpstr>
      <vt:lpstr>Strukturierung in Klassen</vt:lpstr>
      <vt:lpstr>Strukturierung in Klassen</vt:lpstr>
      <vt:lpstr>Literatur- und Bildquellennachweis</vt:lpstr>
      <vt:lpstr>Vielen Dank!</vt:lpstr>
    </vt:vector>
  </TitlesOfParts>
  <Company>HSB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vorlage: Farbe türkisblau</dc:title>
  <dc:subject>Thema der Präsentation</dc:subject>
  <dc:creator>Autor der Präsentation</dc:creator>
  <dc:description>Optimiert für die PowerPoint-Version 2010</dc:description>
  <cp:lastModifiedBy>VR</cp:lastModifiedBy>
  <cp:revision>116</cp:revision>
  <dcterms:created xsi:type="dcterms:W3CDTF">2016-01-25T15:52:04Z</dcterms:created>
  <dcterms:modified xsi:type="dcterms:W3CDTF">2019-06-20T08:33:05Z</dcterms:modified>
  <cp:category>Vorlage</cp:category>
</cp:coreProperties>
</file>